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670" r:id="rId5"/>
  </p:sldMasterIdLst>
  <p:notesMasterIdLst>
    <p:notesMasterId r:id="rId38"/>
  </p:notesMasterIdLst>
  <p:handoutMasterIdLst>
    <p:handoutMasterId r:id="rId39"/>
  </p:handoutMasterIdLst>
  <p:sldIdLst>
    <p:sldId id="265" r:id="rId6"/>
    <p:sldId id="259" r:id="rId7"/>
    <p:sldId id="281" r:id="rId8"/>
    <p:sldId id="365" r:id="rId9"/>
    <p:sldId id="361" r:id="rId10"/>
    <p:sldId id="362" r:id="rId11"/>
    <p:sldId id="363" r:id="rId12"/>
    <p:sldId id="368" r:id="rId13"/>
    <p:sldId id="364" r:id="rId14"/>
    <p:sldId id="366" r:id="rId15"/>
    <p:sldId id="367" r:id="rId16"/>
    <p:sldId id="369" r:id="rId17"/>
    <p:sldId id="370" r:id="rId18"/>
    <p:sldId id="371" r:id="rId19"/>
    <p:sldId id="373" r:id="rId20"/>
    <p:sldId id="372" r:id="rId21"/>
    <p:sldId id="374" r:id="rId22"/>
    <p:sldId id="376" r:id="rId23"/>
    <p:sldId id="377" r:id="rId24"/>
    <p:sldId id="375" r:id="rId25"/>
    <p:sldId id="378" r:id="rId26"/>
    <p:sldId id="379" r:id="rId27"/>
    <p:sldId id="385" r:id="rId28"/>
    <p:sldId id="386" r:id="rId29"/>
    <p:sldId id="380" r:id="rId30"/>
    <p:sldId id="381" r:id="rId31"/>
    <p:sldId id="382" r:id="rId32"/>
    <p:sldId id="384" r:id="rId33"/>
    <p:sldId id="383" r:id="rId34"/>
    <p:sldId id="387" r:id="rId35"/>
    <p:sldId id="388" r:id="rId36"/>
    <p:sldId id="294" r:id="rId3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98814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632" y="225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ngularJ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9267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9977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3663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9799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4044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0833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3064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29385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82771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54455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6216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2858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00849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19978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821269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35764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9829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16888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89647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641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06646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8139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76662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782339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59011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396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71410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9112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058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9780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0416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1723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86297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330494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74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231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80472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4712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16239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81675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465511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012803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52771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8178906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269722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893307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227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0815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71479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344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Bootstrap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Bootstrap Basics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izes – using Offset</a:t>
            </a:r>
            <a:endParaRPr lang="en-US" sz="2400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298450" y="1495425"/>
          <a:ext cx="8845800" cy="49602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</a:tblGrid>
              <a:tr h="1240064">
                <a:tc gridSpan="10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10</a:t>
                      </a: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400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marL="96333" marR="96333"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marL="96333" marR="96333" anchor="ctr"/>
                </a:tc>
                <a:tc gridSpan="8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8   .col-xx-offset-2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latin typeface="Candara" pitchFamily="34" charset="0"/>
                      </a:endParaRP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marL="96333" marR="96333"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</a:tr>
              <a:tr h="1240064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6</a:t>
                      </a: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offset-2</a:t>
                      </a: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</a:tr>
              <a:tr h="124006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6333" marR="96333"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703274"/>
              </p:ext>
            </p:extLst>
          </p:nvPr>
        </p:nvGraphicFramePr>
        <p:xfrm>
          <a:off x="354876" y="1495424"/>
          <a:ext cx="8411748" cy="4564288"/>
        </p:xfrm>
        <a:graphic>
          <a:graphicData uri="http://schemas.openxmlformats.org/drawingml/2006/table">
            <a:tbl>
              <a:tblPr bandRow="1">
                <a:tableStyleId>{69C7853C-536D-4A76-A0AE-DD22124D55A5}</a:tableStyleId>
              </a:tblPr>
              <a:tblGrid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</a:tblGrid>
              <a:tr h="114107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1410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1410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1410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19314" y="6255657"/>
            <a:ext cx="6458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Candara" panose="020E0502030303020204" pitchFamily="34" charset="0"/>
              </a:rPr>
              <a:t>Note: </a:t>
            </a:r>
            <a:r>
              <a:rPr lang="en-US" dirty="0" smtClean="0">
                <a:latin typeface="Candara" panose="020E0502030303020204" pitchFamily="34" charset="0"/>
              </a:rPr>
              <a:t>Offset will be added to the left.</a:t>
            </a:r>
            <a:endParaRPr lang="en-US" dirty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GridSizes</a:t>
            </a:r>
            <a:r>
              <a:rPr lang="en-US" dirty="0" smtClean="0">
                <a:solidFill>
                  <a:schemeClr val="tx1"/>
                </a:solidFill>
              </a:rPr>
              <a:t>-Offse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ultiple Grid</a:t>
            </a:r>
            <a:endParaRPr lang="en-US" sz="2400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355594" y="1077686"/>
          <a:ext cx="8396520" cy="49167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97680"/>
                <a:gridCol w="2798840"/>
              </a:tblGrid>
              <a:tr h="4916713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md-8 .col-xs-12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xs-6 .col-md-4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727989"/>
              </p:ext>
            </p:extLst>
          </p:nvPr>
        </p:nvGraphicFramePr>
        <p:xfrm>
          <a:off x="354876" y="1435608"/>
          <a:ext cx="8411748" cy="4544278"/>
        </p:xfrm>
        <a:graphic>
          <a:graphicData uri="http://schemas.openxmlformats.org/drawingml/2006/table">
            <a:tbl>
              <a:tblPr bandRow="1">
                <a:tableStyleId>{69C7853C-536D-4A76-A0AE-DD22124D55A5}</a:tableStyleId>
              </a:tblPr>
              <a:tblGrid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</a:tblGrid>
              <a:tr h="454427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MultipleGrid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Layout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elper Classes &amp; Responsive Utiliti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lose Icon    :  It is used to dismiss models and aler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type="button" class="close" aria-hidden="true"&gt;&amp;times;&lt;/button&gt;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arets  :   : It is used to indicate dropdown functionality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span class="caret"&gt;&lt;/span&gt;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Quick floats : To float an element left or right with a clas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div class="pull-right"&gt;Right Aligned&lt;/div&gt;  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div class="pull-left"&gt;Left Aligned&lt;/div&gt;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Showing and hiding conten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div class="show"&gt;Show&lt;/div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div class="hidden"&gt;Hidden&lt;/div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92774" y="2278743"/>
            <a:ext cx="173121" cy="18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12256" y="1320800"/>
            <a:ext cx="152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elper Classes &amp; Responsive Utiliti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ork with Images   :  We can apply simple styles to images like rounded corners, circle images &amp; padding with gray border which fits all size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-rounded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-circle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-thumbnail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smtClean="0">
                <a:solidFill>
                  <a:schemeClr val="tx1"/>
                </a:solidFill>
              </a:rPr>
              <a:t>-responsive"/&gt;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enter content blocks : To set an element to center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div class="center-block" style="width:150px;"&gt;Centered-Content&lt;/div&gt;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Responsive utilities : It is used for showing and hiding content by device via media query combined with large, medium, small &amp; extra small devices</a:t>
            </a:r>
          </a:p>
          <a:p>
            <a:pPr lvl="1" algn="just">
              <a:lnSpc>
                <a:spcPct val="170000"/>
              </a:lnSpc>
            </a:pPr>
            <a:r>
              <a:rPr lang="pt-BR" dirty="0" smtClean="0">
                <a:solidFill>
                  <a:schemeClr val="tx1"/>
                </a:solidFill>
              </a:rPr>
              <a:t>&lt;div class="visible-md"&gt;&lt;h1&gt;Visible at Medium Mode&lt;/h1&gt;&lt;/div&gt;</a:t>
            </a:r>
          </a:p>
          <a:p>
            <a:pPr lvl="1" algn="just">
              <a:lnSpc>
                <a:spcPct val="170000"/>
              </a:lnSpc>
            </a:pPr>
            <a:r>
              <a:rPr lang="pt-BR" dirty="0" smtClean="0">
                <a:solidFill>
                  <a:schemeClr val="tx1"/>
                </a:solidFill>
              </a:rPr>
              <a:t>&lt;div class="hidden-md"&gt;&lt;h1&gt;hidden at Medium Mode&lt;/h1&gt;&lt;/div&gt;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HelperClasses-ResponsiveUtilitie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use &lt;a&gt;, &lt;button&gt; or &lt;input type="button"/&gt; with '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' class to create a bootstrap button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a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 </a:t>
            </a:r>
            <a:r>
              <a:rPr lang="en-US" dirty="0" err="1" smtClean="0">
                <a:solidFill>
                  <a:schemeClr val="tx1"/>
                </a:solidFill>
              </a:rPr>
              <a:t>href</a:t>
            </a:r>
            <a:r>
              <a:rPr lang="en-US" dirty="0" smtClean="0">
                <a:solidFill>
                  <a:schemeClr val="tx1"/>
                </a:solidFill>
              </a:rPr>
              <a:t>="#"&gt;Link Button&lt;/a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&gt;Button&lt;/button&gt; &lt;!-- recommended for browser consistency --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input type="button"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 value="button"/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08175" y="4059918"/>
            <a:ext cx="5058682" cy="857250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following options to apply styles to the button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default"&gt;Default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"&gt;Primary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success"&gt;Success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info"&gt;Info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warning"&gt;Warning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danger"&gt;Danger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link"&gt;Link&lt;/button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2856" y="5121297"/>
            <a:ext cx="8563431" cy="840446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utton has following sizes and state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lg</a:t>
            </a:r>
            <a:r>
              <a:rPr lang="en-US" dirty="0" smtClean="0">
                <a:solidFill>
                  <a:schemeClr val="tx1"/>
                </a:solidFill>
              </a:rPr>
              <a:t>"&gt;Large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md</a:t>
            </a:r>
            <a:r>
              <a:rPr lang="en-US" dirty="0" smtClean="0">
                <a:solidFill>
                  <a:schemeClr val="tx1"/>
                </a:solidFill>
              </a:rPr>
              <a:t>"&gt;Medium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sm</a:t>
            </a:r>
            <a:r>
              <a:rPr lang="en-US" dirty="0" smtClean="0">
                <a:solidFill>
                  <a:schemeClr val="tx1"/>
                </a:solidFill>
              </a:rPr>
              <a:t>"&gt;Small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xs</a:t>
            </a:r>
            <a:r>
              <a:rPr lang="en-US" dirty="0" smtClean="0">
                <a:solidFill>
                  <a:schemeClr val="tx1"/>
                </a:solidFill>
              </a:rPr>
              <a:t>"&gt;Extra Small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block"&gt;Block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md</a:t>
            </a:r>
            <a:r>
              <a:rPr lang="en-US" dirty="0" smtClean="0">
                <a:solidFill>
                  <a:schemeClr val="tx1"/>
                </a:solidFill>
              </a:rPr>
              <a:t> active"&gt;Active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	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md</a:t>
            </a:r>
            <a:r>
              <a:rPr lang="en-US" dirty="0" smtClean="0">
                <a:solidFill>
                  <a:schemeClr val="tx1"/>
                </a:solidFill>
              </a:rPr>
              <a:t> disabled"&gt;</a:t>
            </a:r>
            <a:r>
              <a:rPr lang="en-US" dirty="0" err="1" smtClean="0">
                <a:solidFill>
                  <a:schemeClr val="tx1"/>
                </a:solidFill>
              </a:rPr>
              <a:t>InActive</a:t>
            </a:r>
            <a:r>
              <a:rPr lang="en-US" dirty="0" smtClean="0">
                <a:solidFill>
                  <a:schemeClr val="tx1"/>
                </a:solidFill>
              </a:rPr>
              <a:t>&lt;/button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33324" y="4804231"/>
            <a:ext cx="5038725" cy="1633760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143000"/>
            <a:ext cx="6793764" cy="4995517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04799" y="1042761"/>
            <a:ext cx="6241143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b="1" dirty="0" smtClean="0">
                <a:latin typeface="Candara" panose="020E0502030303020204" pitchFamily="34" charset="0"/>
              </a:rPr>
              <a:t>Bootstrap </a:t>
            </a:r>
            <a:r>
              <a:rPr lang="en-US" b="1" dirty="0">
                <a:latin typeface="Candara" panose="020E0502030303020204" pitchFamily="34" charset="0"/>
              </a:rPr>
              <a:t>Grid System</a:t>
            </a:r>
          </a:p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b="1" dirty="0">
                <a:latin typeface="Candara" panose="020E0502030303020204" pitchFamily="34" charset="0"/>
              </a:rPr>
              <a:t>Bootstrap </a:t>
            </a:r>
            <a:r>
              <a:rPr lang="en-US" b="1" dirty="0" smtClean="0">
                <a:latin typeface="Candara" panose="020E0502030303020204" pitchFamily="34" charset="0"/>
              </a:rPr>
              <a:t>Basic </a:t>
            </a:r>
            <a:r>
              <a:rPr lang="en-US" b="1" dirty="0" smtClean="0">
                <a:latin typeface="Candara" panose="020E0502030303020204" pitchFamily="34" charset="0"/>
              </a:rPr>
              <a:t>components</a:t>
            </a:r>
            <a:endParaRPr lang="en-US" b="1" dirty="0">
              <a:latin typeface="Candara" panose="020E0502030303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Button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LYPHIC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LYPHICONS is a library of precisely prepared monochromatic icons and symbols, created with an emphasis on simplicity and easy orientation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is nothing but icon fonts which can be found under </a:t>
            </a:r>
            <a:r>
              <a:rPr lang="en-US" i="1" dirty="0" smtClean="0">
                <a:solidFill>
                  <a:schemeClr val="tx1"/>
                </a:solidFill>
              </a:rPr>
              <a:t>fonts</a:t>
            </a:r>
            <a:r>
              <a:rPr lang="en-US" dirty="0" smtClean="0">
                <a:solidFill>
                  <a:schemeClr val="tx1"/>
                </a:solidFill>
              </a:rPr>
              <a:t> folder as </a:t>
            </a:r>
            <a:r>
              <a:rPr lang="en-US" i="1" dirty="0" err="1" smtClean="0">
                <a:solidFill>
                  <a:schemeClr val="tx1"/>
                </a:solidFill>
              </a:rPr>
              <a:t>glyphicons</a:t>
            </a:r>
            <a:r>
              <a:rPr lang="en-US" i="1" dirty="0" smtClean="0">
                <a:solidFill>
                  <a:schemeClr val="tx1"/>
                </a:solidFill>
              </a:rPr>
              <a:t>-</a:t>
            </a:r>
            <a:r>
              <a:rPr lang="en-US" i="1" dirty="0" err="1" smtClean="0">
                <a:solidFill>
                  <a:schemeClr val="tx1"/>
                </a:solidFill>
              </a:rPr>
              <a:t>halflings</a:t>
            </a:r>
            <a:r>
              <a:rPr lang="en-US" i="1" dirty="0" smtClean="0">
                <a:solidFill>
                  <a:schemeClr val="tx1"/>
                </a:solidFill>
              </a:rPr>
              <a:t>-regular  </a:t>
            </a:r>
            <a:r>
              <a:rPr lang="en-US" dirty="0" smtClean="0">
                <a:solidFill>
                  <a:schemeClr val="tx1"/>
                </a:solidFill>
              </a:rPr>
              <a:t>with  </a:t>
            </a:r>
            <a:r>
              <a:rPr lang="en-US" dirty="0" err="1" smtClean="0">
                <a:solidFill>
                  <a:schemeClr val="tx1"/>
                </a:solidFill>
              </a:rPr>
              <a:t>eot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svg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ttf</a:t>
            </a:r>
            <a:r>
              <a:rPr lang="en-US" dirty="0" smtClean="0">
                <a:solidFill>
                  <a:schemeClr val="tx1"/>
                </a:solidFill>
              </a:rPr>
              <a:t> &amp; </a:t>
            </a:r>
            <a:r>
              <a:rPr lang="en-US" dirty="0" err="1" smtClean="0">
                <a:solidFill>
                  <a:schemeClr val="tx1"/>
                </a:solidFill>
              </a:rPr>
              <a:t>woff</a:t>
            </a:r>
            <a:r>
              <a:rPr lang="en-US" dirty="0" smtClean="0">
                <a:solidFill>
                  <a:schemeClr val="tx1"/>
                </a:solidFill>
              </a:rPr>
              <a:t> formats from Bootstrap 3.x version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have around 200 free bootstrap </a:t>
            </a:r>
            <a:r>
              <a:rPr lang="en-US" dirty="0" err="1" smtClean="0">
                <a:solidFill>
                  <a:schemeClr val="tx1"/>
                </a:solidFill>
              </a:rPr>
              <a:t>glyphicons</a:t>
            </a:r>
            <a:r>
              <a:rPr lang="en-US" dirty="0" smtClean="0">
                <a:solidFill>
                  <a:schemeClr val="tx1"/>
                </a:solidFill>
              </a:rPr>
              <a:t> which is listed under </a:t>
            </a:r>
            <a:r>
              <a:rPr lang="en-US" i="1" dirty="0" smtClean="0">
                <a:solidFill>
                  <a:schemeClr val="tx1"/>
                </a:solidFill>
              </a:rPr>
              <a:t>getbootstrap.com/components/#</a:t>
            </a:r>
            <a:r>
              <a:rPr lang="en-US" i="1" dirty="0" err="1" smtClean="0">
                <a:solidFill>
                  <a:schemeClr val="tx1"/>
                </a:solidFill>
              </a:rPr>
              <a:t>glyphicons</a:t>
            </a:r>
            <a:endParaRPr lang="en-US" i="1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1349829" y="3236687"/>
            <a:ext cx="6705600" cy="184331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&lt;div&gt;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&lt;span class="</a:t>
            </a:r>
            <a:r>
              <a:rPr lang="en-US" dirty="0" err="1" smtClean="0">
                <a:solidFill>
                  <a:schemeClr val="tx1"/>
                </a:solidFill>
              </a:rPr>
              <a:t>glyphico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glyphicon</a:t>
            </a:r>
            <a:r>
              <a:rPr lang="en-US" dirty="0" smtClean="0">
                <a:solidFill>
                  <a:schemeClr val="tx1"/>
                </a:solidFill>
              </a:rPr>
              <a:t>-search"&gt;&lt;/span&gt;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"&gt;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	&lt;span class="</a:t>
            </a:r>
            <a:r>
              <a:rPr lang="en-US" dirty="0" err="1" smtClean="0">
                <a:solidFill>
                  <a:schemeClr val="tx1"/>
                </a:solidFill>
              </a:rPr>
              <a:t>glyphico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glyphicon</a:t>
            </a:r>
            <a:r>
              <a:rPr lang="en-US" dirty="0" smtClean="0">
                <a:solidFill>
                  <a:schemeClr val="tx1"/>
                </a:solidFill>
              </a:rPr>
              <a:t>-refresh"/&gt; Refresh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&lt;/button&gt;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  &lt;/div&gt;</a:t>
            </a:r>
          </a:p>
          <a:p>
            <a:pPr algn="ctr"/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61857" y="3454400"/>
            <a:ext cx="534580" cy="515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93984" y="4442513"/>
            <a:ext cx="1485673" cy="532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Glyphicon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ist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following options to apply styles to the Lis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e the class </a:t>
            </a:r>
            <a:r>
              <a:rPr lang="en-US" b="1" i="1" dirty="0" smtClean="0">
                <a:solidFill>
                  <a:schemeClr val="tx1"/>
                </a:solidFill>
              </a:rPr>
              <a:t>.list-</a:t>
            </a:r>
            <a:r>
              <a:rPr lang="en-US" b="1" i="1" dirty="0" err="1" smtClean="0">
                <a:solidFill>
                  <a:schemeClr val="tx1"/>
                </a:solidFill>
              </a:rPr>
              <a:t>unstyled</a:t>
            </a:r>
            <a:r>
              <a:rPr lang="en-US" dirty="0" smtClean="0">
                <a:solidFill>
                  <a:schemeClr val="tx1"/>
                </a:solidFill>
              </a:rPr>
              <a:t> to remove numbering / bullet in the &lt;</a:t>
            </a:r>
            <a:r>
              <a:rPr lang="en-US" dirty="0" err="1" smtClean="0">
                <a:solidFill>
                  <a:schemeClr val="tx1"/>
                </a:solidFill>
              </a:rPr>
              <a:t>ol</a:t>
            </a:r>
            <a:r>
              <a:rPr lang="en-US" dirty="0" smtClean="0">
                <a:solidFill>
                  <a:schemeClr val="tx1"/>
                </a:solidFill>
              </a:rPr>
              <a:t>&gt; or &lt;</a:t>
            </a:r>
            <a:r>
              <a:rPr lang="en-US" dirty="0" err="1" smtClean="0">
                <a:solidFill>
                  <a:schemeClr val="tx1"/>
                </a:solidFill>
              </a:rPr>
              <a:t>ul</a:t>
            </a:r>
            <a:r>
              <a:rPr lang="en-US" dirty="0" smtClean="0">
                <a:solidFill>
                  <a:schemeClr val="tx1"/>
                </a:solidFill>
              </a:rPr>
              <a:t>&gt; elemen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e the class </a:t>
            </a:r>
            <a:r>
              <a:rPr lang="en-US" b="1" i="1" dirty="0" smtClean="0">
                <a:solidFill>
                  <a:schemeClr val="tx1"/>
                </a:solidFill>
              </a:rPr>
              <a:t>.list-inline </a:t>
            </a:r>
            <a:r>
              <a:rPr lang="en-US" dirty="0" smtClean="0">
                <a:solidFill>
                  <a:schemeClr val="tx1"/>
                </a:solidFill>
              </a:rPr>
              <a:t>to place all the items on a single line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create a list group use the class </a:t>
            </a:r>
            <a:r>
              <a:rPr lang="en-US" b="1" i="1" dirty="0" smtClean="0">
                <a:solidFill>
                  <a:schemeClr val="tx1"/>
                </a:solidFill>
              </a:rPr>
              <a:t>.list-group</a:t>
            </a:r>
            <a:r>
              <a:rPr lang="en-US" dirty="0" smtClean="0">
                <a:solidFill>
                  <a:schemeClr val="tx1"/>
                </a:solidFill>
              </a:rPr>
              <a:t>  to &lt;</a:t>
            </a:r>
            <a:r>
              <a:rPr lang="en-US" dirty="0" err="1" smtClean="0">
                <a:solidFill>
                  <a:schemeClr val="tx1"/>
                </a:solidFill>
              </a:rPr>
              <a:t>ul</a:t>
            </a:r>
            <a:r>
              <a:rPr lang="en-US" dirty="0" smtClean="0">
                <a:solidFill>
                  <a:schemeClr val="tx1"/>
                </a:solidFill>
              </a:rPr>
              <a:t>&gt; and </a:t>
            </a:r>
            <a:r>
              <a:rPr lang="en-US" b="1" i="1" dirty="0" smtClean="0">
                <a:solidFill>
                  <a:schemeClr val="tx1"/>
                </a:solidFill>
              </a:rPr>
              <a:t>.list-group-item </a:t>
            </a: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li</a:t>
            </a:r>
            <a:r>
              <a:rPr lang="en-US" dirty="0" smtClean="0">
                <a:solidFill>
                  <a:schemeClr val="tx1"/>
                </a:solidFill>
              </a:rPr>
              <a:t>&gt; elemen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add a badge component to any list group item which gets automatically position on the  right  by adding the </a:t>
            </a:r>
            <a:r>
              <a:rPr lang="en-US" b="1" i="1" dirty="0" smtClean="0">
                <a:solidFill>
                  <a:schemeClr val="tx1"/>
                </a:solidFill>
              </a:rPr>
              <a:t>&lt;span class="badge"&gt; with in the &lt;</a:t>
            </a:r>
            <a:r>
              <a:rPr lang="en-US" b="1" i="1" dirty="0" err="1" smtClean="0">
                <a:solidFill>
                  <a:schemeClr val="tx1"/>
                </a:solidFill>
              </a:rPr>
              <a:t>li</a:t>
            </a:r>
            <a:r>
              <a:rPr lang="en-US" b="1" i="1" dirty="0" smtClean="0">
                <a:solidFill>
                  <a:schemeClr val="tx1"/>
                </a:solidFill>
              </a:rPr>
              <a:t>&gt; element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add  custom content to the list group using the following code snippet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899884" y="4513945"/>
            <a:ext cx="7228115" cy="943429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'list-group'&gt;&lt;a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href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='#' class='list-group-item active'&gt;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h4 class='list-group-item-heading'&gt;IGATE Corporate University&lt;/h4&gt;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p class='list-group-item-text'/&gt;IGATE Training Division&lt;/p&gt;&lt;/a&gt;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93429" y="5573487"/>
            <a:ext cx="3122236" cy="791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List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l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a clean layout for building tables. Following classes can be used to apply styles over the table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</a:t>
            </a:r>
            <a:r>
              <a:rPr lang="en-US" dirty="0" smtClean="0">
                <a:solidFill>
                  <a:schemeClr val="tx1"/>
                </a:solidFill>
              </a:rPr>
              <a:t> : To create a basic Bootstrap style table which takes 100% of the width of its container, and it also adds in some horizontal dividers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striped</a:t>
            </a:r>
            <a:r>
              <a:rPr lang="en-US" dirty="0" smtClean="0">
                <a:solidFill>
                  <a:schemeClr val="tx1"/>
                </a:solidFill>
              </a:rPr>
              <a:t> : Provides a striping effect for the alternate rows in a table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bordered</a:t>
            </a:r>
            <a:r>
              <a:rPr lang="en-US" dirty="0" smtClean="0">
                <a:solidFill>
                  <a:schemeClr val="tx1"/>
                </a:solidFill>
              </a:rPr>
              <a:t> : Provide a border to the table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hover :</a:t>
            </a:r>
            <a:r>
              <a:rPr lang="en-US" dirty="0" smtClean="0">
                <a:solidFill>
                  <a:schemeClr val="tx1"/>
                </a:solidFill>
              </a:rPr>
              <a:t> To add a slight hover effect as the mouse moves over a table row. 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condensed </a:t>
            </a:r>
            <a:r>
              <a:rPr lang="en-US" dirty="0" smtClean="0">
                <a:solidFill>
                  <a:schemeClr val="tx1"/>
                </a:solidFill>
              </a:rPr>
              <a:t>: It removes most of the cell padding and make the table a little more streamlined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responsive :</a:t>
            </a:r>
            <a:r>
              <a:rPr lang="en-US" dirty="0" smtClean="0">
                <a:solidFill>
                  <a:schemeClr val="tx1"/>
                </a:solidFill>
              </a:rPr>
              <a:t> It makes the table scroll horizontally to view the contents in small devices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ntextual classes : active, success, warning and danger is used to apply background color for the table rows or individual cells.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>
                <a:solidFill>
                  <a:schemeClr val="tx1"/>
                </a:solidFill>
              </a:rPr>
              <a:t>Table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orm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3 form layou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Vertical Form (default)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nline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Horizontal Form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Vertical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a role form to the parent &lt;form&gt; elemen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form-control</a:t>
            </a:r>
            <a:r>
              <a:rPr lang="en-US" dirty="0" smtClean="0">
                <a:solidFill>
                  <a:schemeClr val="tx1"/>
                </a:solidFill>
              </a:rPr>
              <a:t> to form elements and wrap labels and controls in a &lt;div&gt; with class </a:t>
            </a:r>
            <a:r>
              <a:rPr lang="en-US" b="1" i="1" dirty="0" smtClean="0">
                <a:solidFill>
                  <a:schemeClr val="tx1"/>
                </a:solidFill>
              </a:rPr>
              <a:t>.form-group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nline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form-inline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the &lt;form&gt; elemen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i="1" dirty="0" smtClean="0">
                <a:solidFill>
                  <a:schemeClr val="tx1"/>
                </a:solidFill>
              </a:rPr>
              <a:t>.form-control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form elements and wrap labels and form elements in a &lt;div&gt; with class </a:t>
            </a:r>
            <a:r>
              <a:rPr lang="en-US" b="1" i="1" dirty="0" smtClean="0">
                <a:solidFill>
                  <a:schemeClr val="tx1"/>
                </a:solidFill>
              </a:rPr>
              <a:t>.form-group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</a:t>
            </a:r>
            <a:r>
              <a:rPr lang="en-US" b="1" i="1" dirty="0" err="1" smtClean="0">
                <a:solidFill>
                  <a:schemeClr val="tx1"/>
                </a:solidFill>
              </a:rPr>
              <a:t>sr</a:t>
            </a:r>
            <a:r>
              <a:rPr lang="en-US" b="1" i="1" dirty="0" smtClean="0">
                <a:solidFill>
                  <a:schemeClr val="tx1"/>
                </a:solidFill>
              </a:rPr>
              <a:t>-only </a:t>
            </a:r>
            <a:r>
              <a:rPr lang="en-US" dirty="0" smtClean="0">
                <a:solidFill>
                  <a:schemeClr val="tx1"/>
                </a:solidFill>
              </a:rPr>
              <a:t>to hide the labels of the inline forms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orm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Horizontal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form-horizontal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the &lt;form&gt; elemen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i="1" dirty="0" smtClean="0">
                <a:solidFill>
                  <a:schemeClr val="tx1"/>
                </a:solidFill>
              </a:rPr>
              <a:t>.form-control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form elements and wrap labels and form elements in a &lt;div&gt; with class </a:t>
            </a:r>
            <a:r>
              <a:rPr lang="en-US" b="1" i="1" dirty="0" smtClean="0">
                <a:solidFill>
                  <a:schemeClr val="tx1"/>
                </a:solidFill>
              </a:rPr>
              <a:t>.form-group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 control-label </a:t>
            </a:r>
            <a:r>
              <a:rPr lang="en-US" dirty="0" smtClean="0">
                <a:solidFill>
                  <a:schemeClr val="tx1"/>
                </a:solidFill>
              </a:rPr>
              <a:t>to the labels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e Bootstrap's predefined grid classes to align label and groups of form controls in a horizontal layout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Validation States :</a:t>
            </a:r>
            <a:r>
              <a:rPr lang="en-US" b="0" dirty="0" smtClean="0">
                <a:solidFill>
                  <a:schemeClr val="tx1"/>
                </a:solidFill>
              </a:rPr>
              <a:t> Bootstrap includes validation styles for error, warning and success message. To use add the classes .</a:t>
            </a:r>
            <a:r>
              <a:rPr lang="en-US" i="1" dirty="0" smtClean="0">
                <a:solidFill>
                  <a:schemeClr val="tx1"/>
                </a:solidFill>
              </a:rPr>
              <a:t>has-error</a:t>
            </a:r>
            <a:r>
              <a:rPr lang="en-US" b="0" i="1" dirty="0" smtClean="0">
                <a:solidFill>
                  <a:schemeClr val="tx1"/>
                </a:solidFill>
              </a:rPr>
              <a:t>,</a:t>
            </a:r>
            <a:r>
              <a:rPr lang="en-US" i="1" dirty="0" smtClean="0">
                <a:solidFill>
                  <a:schemeClr val="tx1"/>
                </a:solidFill>
              </a:rPr>
              <a:t> .has-warning</a:t>
            </a:r>
            <a:r>
              <a:rPr lang="en-US" b="0" i="1" dirty="0" smtClean="0">
                <a:solidFill>
                  <a:schemeClr val="tx1"/>
                </a:solidFill>
              </a:rPr>
              <a:t>,</a:t>
            </a:r>
            <a:r>
              <a:rPr lang="en-US" i="1" dirty="0" smtClean="0">
                <a:solidFill>
                  <a:schemeClr val="tx1"/>
                </a:solidFill>
              </a:rPr>
              <a:t> .has-success </a:t>
            </a:r>
            <a:r>
              <a:rPr lang="en-US" b="0" dirty="0" smtClean="0">
                <a:solidFill>
                  <a:schemeClr val="tx1"/>
                </a:solidFill>
              </a:rPr>
              <a:t>respectively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Help Text : </a:t>
            </a:r>
            <a:r>
              <a:rPr lang="en-US" b="0" dirty="0" smtClean="0">
                <a:solidFill>
                  <a:schemeClr val="tx1"/>
                </a:solidFill>
              </a:rPr>
              <a:t>Use </a:t>
            </a:r>
            <a:r>
              <a:rPr lang="en-US" i="1" dirty="0" smtClean="0">
                <a:solidFill>
                  <a:schemeClr val="tx1"/>
                </a:solidFill>
              </a:rPr>
              <a:t>.help-block </a:t>
            </a:r>
            <a:r>
              <a:rPr lang="en-US" b="0" dirty="0" smtClean="0">
                <a:solidFill>
                  <a:schemeClr val="tx1"/>
                </a:solidFill>
              </a:rPr>
              <a:t> class to have block level help text for the form input controls.</a:t>
            </a:r>
            <a:endParaRPr lang="en-US" b="0" i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Form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rid System in Bootstrap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 systems are used for creating page layouts through a series of rows and columns to wrap the site content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Primarily grids are about providing structure. For web designers a grid defines the horizontal and vertical guidelines for arranging content and enforcing margi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s also define an intuitive structure for viewers because it's easy to follow a left to right or a right to left flow of content moving down the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 grid won't be visible with border like table, but it exists behind the scenes to provide order alignment and consistency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includes a grid system amongst its features.</a:t>
            </a:r>
          </a:p>
          <a:p>
            <a:pPr algn="just">
              <a:buNone/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ypography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ing typography feature of Bootstrap we can create headings, paragraphs, lists and other inline elements.</a:t>
            </a:r>
            <a:endParaRPr lang="en-US" b="0" i="1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l html headings(h1 to h6) are styled in bootstrap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y adding </a:t>
            </a:r>
            <a:r>
              <a:rPr lang="en-US" b="1" i="1" dirty="0" smtClean="0">
                <a:solidFill>
                  <a:schemeClr val="tx1"/>
                </a:solidFill>
              </a:rPr>
              <a:t>.lead </a:t>
            </a:r>
            <a:r>
              <a:rPr lang="en-US" dirty="0" smtClean="0">
                <a:solidFill>
                  <a:schemeClr val="tx1"/>
                </a:solidFill>
              </a:rPr>
              <a:t>class to the paragraph, we can have a larger font size, lighter weight, and a taller line height.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</a:t>
            </a:r>
            <a:r>
              <a:rPr lang="en-US" b="1" i="1" dirty="0" err="1" smtClean="0">
                <a:solidFill>
                  <a:schemeClr val="tx1"/>
                </a:solidFill>
              </a:rPr>
              <a:t>em</a:t>
            </a:r>
            <a:r>
              <a:rPr lang="en-US" b="1" i="1" dirty="0" smtClean="0">
                <a:solidFill>
                  <a:schemeClr val="tx1"/>
                </a:solidFill>
              </a:rPr>
              <a:t>&gt; </a:t>
            </a:r>
            <a:r>
              <a:rPr lang="en-US" dirty="0" smtClean="0">
                <a:solidFill>
                  <a:schemeClr val="tx1"/>
                </a:solidFill>
              </a:rPr>
              <a:t>tag emphasizes a text in italics and </a:t>
            </a:r>
            <a:r>
              <a:rPr lang="en-US" b="1" dirty="0" smtClean="0">
                <a:solidFill>
                  <a:schemeClr val="tx1"/>
                </a:solidFill>
              </a:rPr>
              <a:t>&lt;strong&gt; </a:t>
            </a:r>
            <a:r>
              <a:rPr lang="en-US" dirty="0" smtClean="0">
                <a:solidFill>
                  <a:schemeClr val="tx1"/>
                </a:solidFill>
              </a:rPr>
              <a:t>tag makes the text bold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small&gt; </a:t>
            </a:r>
            <a:r>
              <a:rPr lang="en-US" dirty="0" smtClean="0">
                <a:solidFill>
                  <a:schemeClr val="tx1"/>
                </a:solidFill>
              </a:rPr>
              <a:t>tag sets text at 85% the size of the parent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</a:t>
            </a:r>
            <a:r>
              <a:rPr lang="en-US" b="1" i="1" dirty="0" err="1" smtClean="0">
                <a:solidFill>
                  <a:schemeClr val="tx1"/>
                </a:solidFill>
              </a:rPr>
              <a:t>abbr</a:t>
            </a:r>
            <a:r>
              <a:rPr lang="en-US" b="1" i="1" dirty="0" smtClean="0">
                <a:solidFill>
                  <a:schemeClr val="tx1"/>
                </a:solidFill>
              </a:rPr>
              <a:t>&gt; </a:t>
            </a:r>
            <a:r>
              <a:rPr lang="en-US" dirty="0" smtClean="0">
                <a:solidFill>
                  <a:schemeClr val="tx1"/>
                </a:solidFill>
              </a:rPr>
              <a:t>styles the element with a light border along the bottom and reveals the full text on hover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address&gt; </a:t>
            </a:r>
            <a:r>
              <a:rPr lang="en-US" dirty="0" smtClean="0">
                <a:solidFill>
                  <a:schemeClr val="tx1"/>
                </a:solidFill>
              </a:rPr>
              <a:t>styles the contact information on web page. We need to use line breaks to break the lines because &lt;address&gt; default to </a:t>
            </a:r>
            <a:r>
              <a:rPr lang="en-US" dirty="0" err="1" smtClean="0">
                <a:solidFill>
                  <a:schemeClr val="tx1"/>
                </a:solidFill>
              </a:rPr>
              <a:t>display:block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text-left, text-center, text-right, text-muted, text-primary, text-success, text-info,</a:t>
            </a:r>
          </a:p>
          <a:p>
            <a:pPr lvl="1" algn="just">
              <a:lnSpc>
                <a:spcPct val="170000"/>
              </a:lnSpc>
              <a:buNone/>
            </a:pPr>
            <a:r>
              <a:rPr lang="en-US" b="1" i="1" dirty="0" smtClean="0">
                <a:solidFill>
                  <a:schemeClr val="tx1"/>
                </a:solidFill>
              </a:rPr>
              <a:t>text-warning </a:t>
            </a:r>
            <a:r>
              <a:rPr lang="en-US" dirty="0" smtClean="0">
                <a:solidFill>
                  <a:schemeClr val="tx1"/>
                </a:solidFill>
              </a:rPr>
              <a:t>and</a:t>
            </a:r>
            <a:r>
              <a:rPr lang="en-US" b="1" i="1" dirty="0" smtClean="0">
                <a:solidFill>
                  <a:schemeClr val="tx1"/>
                </a:solidFill>
              </a:rPr>
              <a:t> text-danger </a:t>
            </a:r>
            <a:r>
              <a:rPr lang="en-US" dirty="0" smtClean="0">
                <a:solidFill>
                  <a:schemeClr val="tx1"/>
                </a:solidFill>
              </a:rPr>
              <a:t>class used to apply the styles to the text  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Form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includes a responsive, mobile first fluid grid system that appropriately scales up to 12 columns as the device or viewport size increases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3 form layouts Vertical Form (default</a:t>
            </a:r>
            <a:r>
              <a:rPr lang="en-US" dirty="0" smtClean="0">
                <a:solidFill>
                  <a:schemeClr val="tx1"/>
                </a:solidFill>
              </a:rPr>
              <a:t>), Inline Form &amp; Horizontal Form</a:t>
            </a: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a clean layout for building tables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Using typography feature of Bootstrap we can create headings, paragraphs, lists and other inline elements.</a:t>
            </a: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ystem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includes a responsive, mobile first fluid grid system that appropriately scales up to 12 columns as the device or viewport size increase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Every row in Bootstrap consists of 12 colum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Rows must be placed within a </a:t>
            </a:r>
            <a:r>
              <a:rPr lang="en-US" i="1" dirty="0" smtClean="0">
                <a:solidFill>
                  <a:schemeClr val="tx1"/>
                </a:solidFill>
              </a:rPr>
              <a:t>.container </a:t>
            </a:r>
            <a:r>
              <a:rPr lang="en-US" dirty="0" smtClean="0">
                <a:solidFill>
                  <a:schemeClr val="tx1"/>
                </a:solidFill>
              </a:rPr>
              <a:t>class for proper alignment and padding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e rows to create horizontal groups of colum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ntent should be placed within columns, and only columns may be immediate children of row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Predefined grid classes like .</a:t>
            </a:r>
            <a:r>
              <a:rPr lang="en-US" i="1" dirty="0" smtClean="0">
                <a:solidFill>
                  <a:schemeClr val="tx1"/>
                </a:solidFill>
              </a:rPr>
              <a:t>row</a:t>
            </a:r>
            <a:r>
              <a:rPr lang="en-US" dirty="0" smtClean="0">
                <a:solidFill>
                  <a:schemeClr val="tx1"/>
                </a:solidFill>
              </a:rPr>
              <a:t> and .</a:t>
            </a:r>
            <a:r>
              <a:rPr lang="en-US" i="1" dirty="0" smtClean="0">
                <a:solidFill>
                  <a:schemeClr val="tx1"/>
                </a:solidFill>
              </a:rPr>
              <a:t>col-xx-4</a:t>
            </a:r>
            <a:r>
              <a:rPr lang="en-US" dirty="0" smtClean="0">
                <a:solidFill>
                  <a:schemeClr val="tx1"/>
                </a:solidFill>
              </a:rPr>
              <a:t> are available for quickly making grid layout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ystem – </a:t>
            </a:r>
            <a:r>
              <a:rPr lang="en-US" dirty="0" err="1" smtClean="0"/>
              <a:t>Contd</a:t>
            </a:r>
            <a:r>
              <a:rPr lang="en-US" dirty="0" smtClean="0"/>
              <a:t>…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 columns are created by specifying the number of twelve available columns you wish to span. For example, three equal columns would use three .col-xx-4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lumns create gutters (gaps between column content) via padding. That padding is offset in rows for the first and last column via negative margin on .row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 has 4 sizes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lg</a:t>
            </a:r>
            <a:r>
              <a:rPr lang="en-US" dirty="0" smtClean="0">
                <a:solidFill>
                  <a:schemeClr val="tx1"/>
                </a:solidFill>
              </a:rPr>
              <a:t> : indicates that the large grid displaying. The grid stacks horizontally &lt; 1200px.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md</a:t>
            </a:r>
            <a:r>
              <a:rPr lang="en-US" dirty="0" smtClean="0">
                <a:solidFill>
                  <a:schemeClr val="tx1"/>
                </a:solidFill>
              </a:rPr>
              <a:t>  : indicates that the medium grid displaying. The grid stacks horizontally &lt; 992px.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sm</a:t>
            </a:r>
            <a:r>
              <a:rPr lang="en-US" dirty="0" smtClean="0">
                <a:solidFill>
                  <a:schemeClr val="tx1"/>
                </a:solidFill>
              </a:rPr>
              <a:t>  : indicates that the small grid displaying. The grid stacks horizontally &lt; 768px.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xs</a:t>
            </a:r>
            <a:r>
              <a:rPr lang="en-US" dirty="0" smtClean="0">
                <a:solidFill>
                  <a:schemeClr val="tx1"/>
                </a:solidFill>
              </a:rPr>
              <a:t> : indicates that the extra small grid displaying. This grid is always horizontal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rid Option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3173" y="1091973"/>
            <a:ext cx="8306998" cy="5022573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asic Grid Structur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8604" y="1742168"/>
            <a:ext cx="8324850" cy="3257550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izes</a:t>
            </a:r>
            <a:endParaRPr lang="en-US" sz="24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298450" y="1495425"/>
          <a:ext cx="8846012" cy="5000176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1474336"/>
                <a:gridCol w="737167"/>
                <a:gridCol w="737167"/>
                <a:gridCol w="1474336"/>
                <a:gridCol w="1474336"/>
                <a:gridCol w="737167"/>
                <a:gridCol w="737167"/>
                <a:gridCol w="1474336"/>
              </a:tblGrid>
              <a:tr h="1250044">
                <a:tc gridSpan="4"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xx-6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+mn-ea"/>
                          <a:cs typeface="+mn-cs"/>
                        </a:rPr>
                        <a:t>.col-xx-6</a:t>
                      </a: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195470" y="1135743"/>
          <a:ext cx="8789124" cy="4988284"/>
        </p:xfrm>
        <a:graphic>
          <a:graphicData uri="http://schemas.openxmlformats.org/drawingml/2006/table">
            <a:tbl>
              <a:tblPr bandRow="1">
                <a:tableStyleId>{284E427A-3D55-4303-BF80-6455036E1DE7}</a:tableStyleId>
              </a:tblPr>
              <a:tblGrid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</a:tblGrid>
              <a:tr h="124707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GridSize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1_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Template</Material_x0020_Type>
    <Level xmlns="2792f03d-d3b8-434f-88d1-32c1c69d1f7a">Generic</Level>
    <Category xmlns="2792f03d-d3b8-434f-88d1-32c1c69d1f7a">Module Artifact</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568768F5-CECE-42C8-BD64-3F8E22CA3D5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29</TotalTime>
  <Words>3265</Words>
  <Application>Microsoft Office PowerPoint</Application>
  <PresentationFormat>On-screen Show (4:3)</PresentationFormat>
  <Paragraphs>302</Paragraphs>
  <Slides>32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1" baseType="lpstr">
      <vt:lpstr>Arial</vt:lpstr>
      <vt:lpstr>Calibri</vt:lpstr>
      <vt:lpstr>Candara</vt:lpstr>
      <vt:lpstr>Helvetica Light</vt:lpstr>
      <vt:lpstr>ＭＳ Ｐゴシック</vt:lpstr>
      <vt:lpstr>Wingdings</vt:lpstr>
      <vt:lpstr>1_Office Theme</vt:lpstr>
      <vt:lpstr>2_Corporate Presentation Template (4x3 - Normal)</vt:lpstr>
      <vt:lpstr>think-cell Slide</vt:lpstr>
      <vt:lpstr>Bootstrap</vt:lpstr>
      <vt:lpstr>Lesson Objectives</vt:lpstr>
      <vt:lpstr>2.1: Bootstrap grid system Grid System in Bootstrap</vt:lpstr>
      <vt:lpstr>2.1: Bootstrap grid system Bootstrap grid system</vt:lpstr>
      <vt:lpstr>2.1: Bootstrap grid system Bootstrap grid system – Contd…</vt:lpstr>
      <vt:lpstr>2.1: Bootstrap grid system Grid Options</vt:lpstr>
      <vt:lpstr>2.1: Bootstrap grid system Basic Grid Structure</vt:lpstr>
      <vt:lpstr>2.1: Bootstrap grid system Bootstrap grid sizes</vt:lpstr>
      <vt:lpstr>Demo</vt:lpstr>
      <vt:lpstr>2.1: Bootstrap grid system Bootstrap grid sizes – using Offset</vt:lpstr>
      <vt:lpstr>Demo</vt:lpstr>
      <vt:lpstr>2.1: Bootstrap grid system Multiple Grid</vt:lpstr>
      <vt:lpstr>Demo</vt:lpstr>
      <vt:lpstr>2.2: Bootstrap Basic Components Helper Classes &amp; Responsive Utilities</vt:lpstr>
      <vt:lpstr>2.2: Bootstrap Basics Helper Classes &amp; Responsive Utilities</vt:lpstr>
      <vt:lpstr>Demo</vt:lpstr>
      <vt:lpstr>2.2: Bootstrap Basics Working with Buttons</vt:lpstr>
      <vt:lpstr>2.2: Bootstrap Basics Working with Buttons</vt:lpstr>
      <vt:lpstr>2.2: Bootstrap Basics Working with Buttons</vt:lpstr>
      <vt:lpstr>Demo</vt:lpstr>
      <vt:lpstr>2.2: Bootstrap Basics GLYPHICONS</vt:lpstr>
      <vt:lpstr>Demo</vt:lpstr>
      <vt:lpstr>2.2: Bootstrap Basics List</vt:lpstr>
      <vt:lpstr>Demo</vt:lpstr>
      <vt:lpstr>2.2: Bootstrap Basics Tables</vt:lpstr>
      <vt:lpstr>Demo</vt:lpstr>
      <vt:lpstr>2.2: Bootstrap Basics Forms</vt:lpstr>
      <vt:lpstr>2.2: Bootstrap Basics Forms</vt:lpstr>
      <vt:lpstr>Demo</vt:lpstr>
      <vt:lpstr>2.2: Bootstrap Basics Typography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Vikash, Rahul</cp:lastModifiedBy>
  <cp:revision>708</cp:revision>
  <dcterms:created xsi:type="dcterms:W3CDTF">2012-05-18T02:59:15Z</dcterms:created>
  <dcterms:modified xsi:type="dcterms:W3CDTF">2017-07-10T06:3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